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1413" r:id="rId2"/>
    <p:sldId id="2237" r:id="rId3"/>
    <p:sldId id="2185" r:id="rId4"/>
    <p:sldId id="2226" r:id="rId5"/>
    <p:sldId id="2227" r:id="rId6"/>
    <p:sldId id="2228" r:id="rId7"/>
    <p:sldId id="2229" r:id="rId8"/>
    <p:sldId id="2230" r:id="rId9"/>
    <p:sldId id="2231" r:id="rId10"/>
    <p:sldId id="2232" r:id="rId11"/>
    <p:sldId id="2172" r:id="rId12"/>
    <p:sldId id="2235" r:id="rId13"/>
    <p:sldId id="2233" r:id="rId14"/>
  </p:sldIdLst>
  <p:sldSz cx="12192000" cy="6858000"/>
  <p:notesSz cx="6858000" cy="9144000"/>
  <p:custDataLst>
    <p:tags r:id="rId1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žík Jan RNDr. Ph.D." initials="MJRP" lastIdx="1" clrIdx="0">
    <p:extLst>
      <p:ext uri="{19B8F6BF-5375-455C-9EA6-DF929625EA0E}">
        <p15:presenceInfo xmlns:p15="http://schemas.microsoft.com/office/powerpoint/2012/main" userId="Mužík Jan RNDr. Ph.D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CC99"/>
    <a:srgbClr val="7191D1"/>
    <a:srgbClr val="B0C2E5"/>
    <a:srgbClr val="F2F2F2"/>
    <a:srgbClr val="CC99FF"/>
    <a:srgbClr val="FF9933"/>
    <a:srgbClr val="FF9966"/>
    <a:srgbClr val="FF6600"/>
    <a:srgbClr val="3153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6327" autoAdjust="0"/>
  </p:normalViewPr>
  <p:slideViewPr>
    <p:cSldViewPr snapToGrid="0">
      <p:cViewPr>
        <p:scale>
          <a:sx n="120" d="100"/>
          <a:sy n="120" d="100"/>
        </p:scale>
        <p:origin x="396" y="25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21979426879203"/>
          <c:y val="0.15289779551144775"/>
          <c:w val="0.71169677772137596"/>
          <c:h val="0.791978898748192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38.026133416908003</c:v>
                </c:pt>
                <c:pt idx="1">
                  <c:v>46.306417197041</c:v>
                </c:pt>
                <c:pt idx="2">
                  <c:v>45.558551163164999</c:v>
                </c:pt>
                <c:pt idx="3">
                  <c:v>40.154580658275002</c:v>
                </c:pt>
                <c:pt idx="5">
                  <c:v>36.954752873829001</c:v>
                </c:pt>
                <c:pt idx="6">
                  <c:v>36.472170183877999</c:v>
                </c:pt>
                <c:pt idx="7">
                  <c:v>37.137498791318997</c:v>
                </c:pt>
                <c:pt idx="8">
                  <c:v>37.611038536903003</c:v>
                </c:pt>
                <c:pt idx="9">
                  <c:v>38.130512350177</c:v>
                </c:pt>
                <c:pt idx="10">
                  <c:v>38.023686104352002</c:v>
                </c:pt>
                <c:pt idx="11">
                  <c:v>38.314350892877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4B-4255-9B61-E6E850493DE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26.017781906686999</c:v>
                </c:pt>
                <c:pt idx="1">
                  <c:v>28.148724060157999</c:v>
                </c:pt>
                <c:pt idx="2">
                  <c:v>28.685382055609001</c:v>
                </c:pt>
                <c:pt idx="3">
                  <c:v>27.474072513583</c:v>
                </c:pt>
                <c:pt idx="5">
                  <c:v>24.657316364648</c:v>
                </c:pt>
                <c:pt idx="6">
                  <c:v>25.229538051814</c:v>
                </c:pt>
                <c:pt idx="7">
                  <c:v>25.232160431871002</c:v>
                </c:pt>
                <c:pt idx="8">
                  <c:v>25.032046048333999</c:v>
                </c:pt>
                <c:pt idx="9">
                  <c:v>24.439817789567002</c:v>
                </c:pt>
                <c:pt idx="10">
                  <c:v>24.588065104739002</c:v>
                </c:pt>
                <c:pt idx="11">
                  <c:v>25.843359713573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4B-4255-9B61-E6E850493DE0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0.87390159596799999</c:v>
                </c:pt>
                <c:pt idx="1">
                  <c:v>0.87326422798600001</c:v>
                </c:pt>
                <c:pt idx="2">
                  <c:v>0.88556398470599995</c:v>
                </c:pt>
                <c:pt idx="3">
                  <c:v>0.92281673074600001</c:v>
                </c:pt>
                <c:pt idx="5">
                  <c:v>0.73216296240599998</c:v>
                </c:pt>
                <c:pt idx="6">
                  <c:v>0.75914333644400001</c:v>
                </c:pt>
                <c:pt idx="7">
                  <c:v>0.78779760722400005</c:v>
                </c:pt>
                <c:pt idx="8">
                  <c:v>0.79945025038100004</c:v>
                </c:pt>
                <c:pt idx="9">
                  <c:v>0.79410149365100002</c:v>
                </c:pt>
                <c:pt idx="10">
                  <c:v>0.844031457067</c:v>
                </c:pt>
                <c:pt idx="11">
                  <c:v>0.907421515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4B-4255-9B61-E6E850493DE0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4.12789670351</c:v>
                </c:pt>
                <c:pt idx="1">
                  <c:v>10.479090120103001</c:v>
                </c:pt>
                <c:pt idx="2">
                  <c:v>10.757898236846</c:v>
                </c:pt>
                <c:pt idx="3">
                  <c:v>13.993496482071</c:v>
                </c:pt>
                <c:pt idx="5">
                  <c:v>13.555434301572999</c:v>
                </c:pt>
                <c:pt idx="6">
                  <c:v>14.689978394114</c:v>
                </c:pt>
                <c:pt idx="7">
                  <c:v>14.514140254958001</c:v>
                </c:pt>
                <c:pt idx="8">
                  <c:v>14.621911060308999</c:v>
                </c:pt>
                <c:pt idx="9">
                  <c:v>13.953384856719</c:v>
                </c:pt>
                <c:pt idx="10">
                  <c:v>13.994630587154001</c:v>
                </c:pt>
                <c:pt idx="11">
                  <c:v>13.393607041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4B-4255-9B61-E6E850493DE0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9.0041121207999994E-2</c:v>
                </c:pt>
                <c:pt idx="1">
                  <c:v>0.10026294550500001</c:v>
                </c:pt>
                <c:pt idx="2">
                  <c:v>9.9367167879999996E-2</c:v>
                </c:pt>
                <c:pt idx="3">
                  <c:v>9.3936414322000006E-2</c:v>
                </c:pt>
                <c:pt idx="5">
                  <c:v>6.6566963492999995E-2</c:v>
                </c:pt>
                <c:pt idx="6">
                  <c:v>6.5731499552E-2</c:v>
                </c:pt>
                <c:pt idx="7">
                  <c:v>7.0459538609000005E-2</c:v>
                </c:pt>
                <c:pt idx="8">
                  <c:v>7.1916503374000004E-2</c:v>
                </c:pt>
                <c:pt idx="9">
                  <c:v>7.3946708114999996E-2</c:v>
                </c:pt>
                <c:pt idx="10">
                  <c:v>7.2533319486000003E-2</c:v>
                </c:pt>
                <c:pt idx="11">
                  <c:v>7.7230935185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4B-4255-9B61-E6E850493DE0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0.48679765986500001</c:v>
                </c:pt>
                <c:pt idx="1">
                  <c:v>0.54480116012900004</c:v>
                </c:pt>
                <c:pt idx="2">
                  <c:v>0.54364721433999996</c:v>
                </c:pt>
                <c:pt idx="3">
                  <c:v>0.51299938872200002</c:v>
                </c:pt>
                <c:pt idx="5">
                  <c:v>0.23195346792499999</c:v>
                </c:pt>
                <c:pt idx="6">
                  <c:v>0.233160790866</c:v>
                </c:pt>
                <c:pt idx="7">
                  <c:v>0.25065606075699998</c:v>
                </c:pt>
                <c:pt idx="8">
                  <c:v>0.244529719137</c:v>
                </c:pt>
                <c:pt idx="9">
                  <c:v>0.27310026958200001</c:v>
                </c:pt>
                <c:pt idx="10">
                  <c:v>0.31066004509299999</c:v>
                </c:pt>
                <c:pt idx="11">
                  <c:v>0.293267687037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4B-4255-9B61-E6E850493DE0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3</c:f>
              <c:strCache>
                <c:ptCount val="12"/>
                <c:pt idx="0">
                  <c:v>CELKEM celá populace</c:v>
                </c:pt>
                <c:pt idx="1">
                  <c:v>18 a více let CELKEM</c:v>
                </c:pt>
                <c:pt idx="2">
                  <c:v>16 a více let CELKEM</c:v>
                </c:pt>
                <c:pt idx="3">
                  <c:v>5 a více let CELKEM</c:v>
                </c:pt>
                <c:pt idx="5">
                  <c:v>do 750 obyvatel</c:v>
                </c:pt>
                <c:pt idx="6">
                  <c:v>750 – 1 999 obyvatel</c:v>
                </c:pt>
                <c:pt idx="7">
                  <c:v>2 000 – 4 999 obyvatel</c:v>
                </c:pt>
                <c:pt idx="8">
                  <c:v>5 000 – 14 999 obyvatel</c:v>
                </c:pt>
                <c:pt idx="9">
                  <c:v>15 000 – 39 999 obyvatel</c:v>
                </c:pt>
                <c:pt idx="10">
                  <c:v>40 000 – 99 999 obyvatel</c:v>
                </c:pt>
                <c:pt idx="11">
                  <c:v>100 000 a více obyvatel</c:v>
                </c:pt>
              </c:strCache>
            </c:strRef>
          </c:cat>
          <c:val>
            <c:numRef>
              <c:f>List1!$H$2:$H$13</c:f>
              <c:numCache>
                <c:formatCode>General</c:formatCode>
                <c:ptCount val="12"/>
                <c:pt idx="0">
                  <c:v>20.377447595852999</c:v>
                </c:pt>
                <c:pt idx="1">
                  <c:v>13.547440289075</c:v>
                </c:pt>
                <c:pt idx="2">
                  <c:v>13.469590177451</c:v>
                </c:pt>
                <c:pt idx="3">
                  <c:v>16.848097812279001</c:v>
                </c:pt>
                <c:pt idx="5">
                  <c:v>23.801813066123</c:v>
                </c:pt>
                <c:pt idx="6">
                  <c:v>22.550277743328</c:v>
                </c:pt>
                <c:pt idx="7">
                  <c:v>22.007287315260001</c:v>
                </c:pt>
                <c:pt idx="8">
                  <c:v>21.619107881559</c:v>
                </c:pt>
                <c:pt idx="9">
                  <c:v>22.335136532187001</c:v>
                </c:pt>
                <c:pt idx="10">
                  <c:v>22.166393382106001</c:v>
                </c:pt>
                <c:pt idx="11">
                  <c:v>21.17076221476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4B-4255-9B61-E6E850493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9E-3"/>
          <c:y val="4.1173005736514182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5-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962196609805005</c:v>
                </c:pt>
                <c:pt idx="1">
                  <c:v>91.745973046423998</c:v>
                </c:pt>
                <c:pt idx="2">
                  <c:v>81.823091911982004</c:v>
                </c:pt>
                <c:pt idx="3">
                  <c:v>78.208148640226995</c:v>
                </c:pt>
                <c:pt idx="4">
                  <c:v>72.532345443764001</c:v>
                </c:pt>
                <c:pt idx="5">
                  <c:v>64.305911871765005</c:v>
                </c:pt>
                <c:pt idx="6">
                  <c:v>67.145875983634994</c:v>
                </c:pt>
                <c:pt idx="7">
                  <c:v>22.417977427922999</c:v>
                </c:pt>
                <c:pt idx="8">
                  <c:v>75.973469590822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9D-47E9-97C6-135EE347D81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-79</c:v>
                </c:pt>
                <c:pt idx="2">
                  <c:v>60-69</c:v>
                </c:pt>
                <c:pt idx="3">
                  <c:v>50-59</c:v>
                </c:pt>
                <c:pt idx="4">
                  <c:v>40-49</c:v>
                </c:pt>
                <c:pt idx="5">
                  <c:v>30-39</c:v>
                </c:pt>
                <c:pt idx="6">
                  <c:v>16-29</c:v>
                </c:pt>
                <c:pt idx="7">
                  <c:v>5-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773215410947998</c:v>
                </c:pt>
                <c:pt idx="1">
                  <c:v>91.284580374390998</c:v>
                </c:pt>
                <c:pt idx="2">
                  <c:v>81.532387742192</c:v>
                </c:pt>
                <c:pt idx="3">
                  <c:v>77.761651832428996</c:v>
                </c:pt>
                <c:pt idx="4">
                  <c:v>72.018692420267001</c:v>
                </c:pt>
                <c:pt idx="5">
                  <c:v>63.459990585779998</c:v>
                </c:pt>
                <c:pt idx="6">
                  <c:v>66.098975854177993</c:v>
                </c:pt>
                <c:pt idx="7">
                  <c:v>22.066000122578998</c:v>
                </c:pt>
                <c:pt idx="8">
                  <c:v>75.328405485185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9D-47E9-97C6-135EE347D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7.568098432346005</c:v>
                </c:pt>
                <c:pt idx="1">
                  <c:v>91.562516439828002</c:v>
                </c:pt>
                <c:pt idx="2">
                  <c:v>81.716670927867</c:v>
                </c:pt>
                <c:pt idx="3">
                  <c:v>76.401965463379995</c:v>
                </c:pt>
                <c:pt idx="4">
                  <c:v>70.148859405056996</c:v>
                </c:pt>
                <c:pt idx="5">
                  <c:v>59.611954327462001</c:v>
                </c:pt>
                <c:pt idx="6">
                  <c:v>60.393867728209003</c:v>
                </c:pt>
                <c:pt idx="7">
                  <c:v>21.583954714261001</c:v>
                </c:pt>
                <c:pt idx="8">
                  <c:v>73.062823482731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5D-4F82-B544-891C0F95F72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7.256791313047998</c:v>
                </c:pt>
                <c:pt idx="1">
                  <c:v>91.333298261698999</c:v>
                </c:pt>
                <c:pt idx="2">
                  <c:v>81.513800731443993</c:v>
                </c:pt>
                <c:pt idx="3">
                  <c:v>76.133503991669002</c:v>
                </c:pt>
                <c:pt idx="4">
                  <c:v>69.843379760735004</c:v>
                </c:pt>
                <c:pt idx="5">
                  <c:v>59.149461136686</c:v>
                </c:pt>
                <c:pt idx="6">
                  <c:v>59.951721335153998</c:v>
                </c:pt>
                <c:pt idx="7">
                  <c:v>21.345088717504002</c:v>
                </c:pt>
                <c:pt idx="8">
                  <c:v>72.7402160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5D-4F82-B544-891C0F95F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89.032659962623001</c:v>
                </c:pt>
                <c:pt idx="1">
                  <c:v>91.759000293273999</c:v>
                </c:pt>
                <c:pt idx="2">
                  <c:v>81.834492038573003</c:v>
                </c:pt>
                <c:pt idx="3">
                  <c:v>77.382504877727996</c:v>
                </c:pt>
                <c:pt idx="4">
                  <c:v>71.167067915442999</c:v>
                </c:pt>
                <c:pt idx="5">
                  <c:v>60.479789969891002</c:v>
                </c:pt>
                <c:pt idx="6">
                  <c:v>61.700112821302</c:v>
                </c:pt>
                <c:pt idx="7">
                  <c:v>21.503651052392001</c:v>
                </c:pt>
                <c:pt idx="8">
                  <c:v>73.667209952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C-4258-B2E9-3390F07AA8C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88.726528432855005</c:v>
                </c:pt>
                <c:pt idx="1">
                  <c:v>91.537256528922995</c:v>
                </c:pt>
                <c:pt idx="2">
                  <c:v>81.631585130126993</c:v>
                </c:pt>
                <c:pt idx="3">
                  <c:v>77.097928608255003</c:v>
                </c:pt>
                <c:pt idx="4">
                  <c:v>70.860282408700002</c:v>
                </c:pt>
                <c:pt idx="5">
                  <c:v>60.022545053507002</c:v>
                </c:pt>
                <c:pt idx="6">
                  <c:v>61.263326733211002</c:v>
                </c:pt>
                <c:pt idx="7">
                  <c:v>21.227203278537001</c:v>
                </c:pt>
                <c:pt idx="8">
                  <c:v>73.329479350490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C-4258-B2E9-3390F07AA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1.692998819810995</c:v>
                </c:pt>
                <c:pt idx="1">
                  <c:v>91.777603137179995</c:v>
                </c:pt>
                <c:pt idx="2">
                  <c:v>81.803979456899</c:v>
                </c:pt>
                <c:pt idx="3">
                  <c:v>77.604148377051999</c:v>
                </c:pt>
                <c:pt idx="4">
                  <c:v>71.243728545021995</c:v>
                </c:pt>
                <c:pt idx="5">
                  <c:v>60.711125599589998</c:v>
                </c:pt>
                <c:pt idx="6">
                  <c:v>62.137408652049999</c:v>
                </c:pt>
                <c:pt idx="7">
                  <c:v>21.880462449016999</c:v>
                </c:pt>
                <c:pt idx="8">
                  <c:v>74.028277269060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6-40CB-8CD6-67928DF8B39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297064758060998</c:v>
                </c:pt>
                <c:pt idx="1">
                  <c:v>91.520405166185995</c:v>
                </c:pt>
                <c:pt idx="2">
                  <c:v>81.581326690653995</c:v>
                </c:pt>
                <c:pt idx="3">
                  <c:v>77.325560979035004</c:v>
                </c:pt>
                <c:pt idx="4">
                  <c:v>70.953261156587999</c:v>
                </c:pt>
                <c:pt idx="5">
                  <c:v>60.201765007218</c:v>
                </c:pt>
                <c:pt idx="6">
                  <c:v>61.663732863923997</c:v>
                </c:pt>
                <c:pt idx="7">
                  <c:v>21.612438283909</c:v>
                </c:pt>
                <c:pt idx="8">
                  <c:v>73.695023010864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F6-40CB-8CD6-67928DF8B3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822251952334994</c:v>
                </c:pt>
                <c:pt idx="1">
                  <c:v>91.452696297499998</c:v>
                </c:pt>
                <c:pt idx="2">
                  <c:v>81.191924612191002</c:v>
                </c:pt>
                <c:pt idx="3">
                  <c:v>76.744535577790003</c:v>
                </c:pt>
                <c:pt idx="4">
                  <c:v>69.860849435201999</c:v>
                </c:pt>
                <c:pt idx="5">
                  <c:v>60.151969840981003</c:v>
                </c:pt>
                <c:pt idx="6">
                  <c:v>61.661188245105997</c:v>
                </c:pt>
                <c:pt idx="7">
                  <c:v>21.161378081098999</c:v>
                </c:pt>
                <c:pt idx="8">
                  <c:v>73.865900239357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44-4C97-A806-76CD7E1DDB7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478454310692996</c:v>
                </c:pt>
                <c:pt idx="1">
                  <c:v>91.224506378482999</c:v>
                </c:pt>
                <c:pt idx="2">
                  <c:v>80.978924486253007</c:v>
                </c:pt>
                <c:pt idx="3">
                  <c:v>76.459505303387999</c:v>
                </c:pt>
                <c:pt idx="4">
                  <c:v>69.555850322319003</c:v>
                </c:pt>
                <c:pt idx="5">
                  <c:v>59.646293665964997</c:v>
                </c:pt>
                <c:pt idx="6">
                  <c:v>61.204435068438997</c:v>
                </c:pt>
                <c:pt idx="7">
                  <c:v>20.888740355073001</c:v>
                </c:pt>
                <c:pt idx="8">
                  <c:v>73.519180534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44-4C97-A806-76CD7E1DD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74302158770007</c:v>
                </c:pt>
                <c:pt idx="1">
                  <c:v>91.098415177063004</c:v>
                </c:pt>
                <c:pt idx="2">
                  <c:v>80.913765119833002</c:v>
                </c:pt>
                <c:pt idx="3">
                  <c:v>76.404500858898004</c:v>
                </c:pt>
                <c:pt idx="4">
                  <c:v>69.621079309424005</c:v>
                </c:pt>
                <c:pt idx="5">
                  <c:v>59.565754552942003</c:v>
                </c:pt>
                <c:pt idx="6">
                  <c:v>61.972271963262997</c:v>
                </c:pt>
                <c:pt idx="7">
                  <c:v>20.772274325908</c:v>
                </c:pt>
                <c:pt idx="8">
                  <c:v>73.188156938613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FC-4282-9746-C835D5D8CC2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2.006153101612</c:v>
                </c:pt>
                <c:pt idx="1">
                  <c:v>90.810129053085006</c:v>
                </c:pt>
                <c:pt idx="2">
                  <c:v>80.659645298487007</c:v>
                </c:pt>
                <c:pt idx="3">
                  <c:v>76.089763543504006</c:v>
                </c:pt>
                <c:pt idx="4">
                  <c:v>69.258546438506997</c:v>
                </c:pt>
                <c:pt idx="5">
                  <c:v>58.984625240230002</c:v>
                </c:pt>
                <c:pt idx="6">
                  <c:v>61.465279532445997</c:v>
                </c:pt>
                <c:pt idx="7">
                  <c:v>20.527816263455001</c:v>
                </c:pt>
                <c:pt idx="8">
                  <c:v>72.793635071900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C-4282-9746-C835D5D8C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2.356432109232003</c:v>
                </c:pt>
                <c:pt idx="1">
                  <c:v>90.234183016084998</c:v>
                </c:pt>
                <c:pt idx="2">
                  <c:v>80.329817768040002</c:v>
                </c:pt>
                <c:pt idx="3">
                  <c:v>76.466201574684007</c:v>
                </c:pt>
                <c:pt idx="4">
                  <c:v>69.966957856009003</c:v>
                </c:pt>
                <c:pt idx="5">
                  <c:v>60.387545375530003</c:v>
                </c:pt>
                <c:pt idx="6">
                  <c:v>62.610844451675</c:v>
                </c:pt>
                <c:pt idx="7">
                  <c:v>20.833665662521</c:v>
                </c:pt>
                <c:pt idx="8">
                  <c:v>74.201778616111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3-4982-9BAE-718503394E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1.960793062929994</c:v>
                </c:pt>
                <c:pt idx="1">
                  <c:v>89.989771927261003</c:v>
                </c:pt>
                <c:pt idx="2">
                  <c:v>80.061479934104</c:v>
                </c:pt>
                <c:pt idx="3">
                  <c:v>76.101981594462003</c:v>
                </c:pt>
                <c:pt idx="4">
                  <c:v>69.587278338651004</c:v>
                </c:pt>
                <c:pt idx="5">
                  <c:v>59.794468019836998</c:v>
                </c:pt>
                <c:pt idx="6">
                  <c:v>61.995606898795003</c:v>
                </c:pt>
                <c:pt idx="7">
                  <c:v>20.544692651740998</c:v>
                </c:pt>
                <c:pt idx="8">
                  <c:v>73.782669770553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23-4982-9BAE-718503394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ají registraci či rezervaci k očkování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94.579392263456995</c:v>
                </c:pt>
                <c:pt idx="1">
                  <c:v>90.863656459642002</c:v>
                </c:pt>
                <c:pt idx="2">
                  <c:v>80.680549305867999</c:v>
                </c:pt>
                <c:pt idx="3">
                  <c:v>76.510146250546001</c:v>
                </c:pt>
                <c:pt idx="4">
                  <c:v>72.30489615047</c:v>
                </c:pt>
                <c:pt idx="5">
                  <c:v>64.748767798466005</c:v>
                </c:pt>
                <c:pt idx="6">
                  <c:v>68.33888175493</c:v>
                </c:pt>
                <c:pt idx="7">
                  <c:v>25.684408995620998</c:v>
                </c:pt>
                <c:pt idx="8">
                  <c:v>75.27793637777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4F-45D5-8906-2A772ED970B3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jsou očkovaní alespoň prvn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0</c:f>
              <c:strCache>
                <c:ptCount val="9"/>
                <c:pt idx="0">
                  <c:v>80+</c:v>
                </c:pt>
                <c:pt idx="1">
                  <c:v>70–79</c:v>
                </c:pt>
                <c:pt idx="2">
                  <c:v>60–69</c:v>
                </c:pt>
                <c:pt idx="3">
                  <c:v>50–59</c:v>
                </c:pt>
                <c:pt idx="4">
                  <c:v>40–49</c:v>
                </c:pt>
                <c:pt idx="5">
                  <c:v>30–39</c:v>
                </c:pt>
                <c:pt idx="6">
                  <c:v>16–29</c:v>
                </c:pt>
                <c:pt idx="7">
                  <c:v>5–15</c:v>
                </c:pt>
                <c:pt idx="8">
                  <c:v>18+ CELKEM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94.163550471880001</c:v>
                </c:pt>
                <c:pt idx="1">
                  <c:v>90.575803010206997</c:v>
                </c:pt>
                <c:pt idx="2">
                  <c:v>80.423895471893005</c:v>
                </c:pt>
                <c:pt idx="3">
                  <c:v>76.119130484395001</c:v>
                </c:pt>
                <c:pt idx="4">
                  <c:v>71.915663564362006</c:v>
                </c:pt>
                <c:pt idx="5">
                  <c:v>64.253320098575998</c:v>
                </c:pt>
                <c:pt idx="6">
                  <c:v>67.873089753607999</c:v>
                </c:pt>
                <c:pt idx="7">
                  <c:v>25.322615990837001</c:v>
                </c:pt>
                <c:pt idx="8">
                  <c:v>74.882022163119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4F-45D5-8906-2A772ED97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707351210287982"/>
          <c:y val="3.0834968315674501E-2"/>
          <c:w val="0.41276488512329151"/>
          <c:h val="8.9144703621308483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03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567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547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953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4628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62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92977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1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9" r:id="rId3"/>
    <p:sldLayoutId id="2147483657" r:id="rId4"/>
    <p:sldLayoutId id="2147483662" r:id="rId5"/>
    <p:sldLayoutId id="2147483661" r:id="rId6"/>
    <p:sldLayoutId id="2147483660" r:id="rId7"/>
    <p:sldLayoutId id="2147483658" r:id="rId8"/>
    <p:sldLayoutId id="214748366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 txBox="1">
            <a:spLocks/>
          </p:cNvSpPr>
          <p:nvPr/>
        </p:nvSpPr>
        <p:spPr>
          <a:xfrm>
            <a:off x="0" y="3840861"/>
            <a:ext cx="12192000" cy="1956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400" dirty="0">
                <a:solidFill>
                  <a:schemeClr val="tx1"/>
                </a:solidFill>
              </a:rPr>
              <a:t>Průběh vakcinace k 20. 3. 2022</a:t>
            </a:r>
          </a:p>
          <a:p>
            <a:r>
              <a:rPr lang="cs-CZ" sz="4400" b="0" i="1" dirty="0">
                <a:solidFill>
                  <a:schemeClr val="tx1"/>
                </a:solidFill>
              </a:rPr>
              <a:t>Stručná prezentace shrnující analýzu dle velikosti sídel </a:t>
            </a:r>
          </a:p>
        </p:txBody>
      </p:sp>
      <p:sp>
        <p:nvSpPr>
          <p:cNvPr id="5" name="Nadpis 1"/>
          <p:cNvSpPr txBox="1">
            <a:spLocks/>
          </p:cNvSpPr>
          <p:nvPr/>
        </p:nvSpPr>
        <p:spPr>
          <a:xfrm>
            <a:off x="73152" y="1801368"/>
            <a:ext cx="12192000" cy="169057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4800" dirty="0"/>
              <a:t>Stav a vývoj epidemie COVID-19 </a:t>
            </a:r>
            <a:br>
              <a:rPr lang="cs-CZ" sz="4800" dirty="0"/>
            </a:br>
            <a:r>
              <a:rPr lang="cs-CZ" sz="4800" dirty="0"/>
              <a:t>v dostupných datech</a:t>
            </a:r>
          </a:p>
        </p:txBody>
      </p:sp>
    </p:spTree>
    <p:extLst>
      <p:ext uri="{BB962C8B-B14F-4D97-AF65-F5344CB8AC3E}">
        <p14:creationId xmlns:p14="http://schemas.microsoft.com/office/powerpoint/2010/main" val="4189870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00 000 a více obyvatel (2 382 465 obyvatel, 6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FE759F90-0394-4F8C-BD0E-26FAB63299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3920793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761CB2D4-BC7E-4C94-8AC8-F2AB1168D22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8F468458-0F79-403C-B5AA-486E3474AD1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47325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483669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6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6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22 16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11 99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03 65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6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54 18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915 99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906 32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8 06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07 13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98 44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7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1 61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96 30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4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86 44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6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64 26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49 79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40 32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2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32 36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53 65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0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44 75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1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85 52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 483 89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7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 466 58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151 36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144 98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878 18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6 670 13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1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6 591 51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6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20. 3. 2022</a:t>
            </a:r>
          </a:p>
        </p:txBody>
      </p:sp>
    </p:spTree>
    <p:extLst>
      <p:ext uri="{BB962C8B-B14F-4D97-AF65-F5344CB8AC3E}">
        <p14:creationId xmlns:p14="http://schemas.microsoft.com/office/powerpoint/2010/main" val="2091317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581093"/>
              </p:ext>
            </p:extLst>
          </p:nvPr>
        </p:nvGraphicFramePr>
        <p:xfrm>
          <a:off x="488230" y="1067328"/>
          <a:ext cx="11215540" cy="4795216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2093170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710676150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12878687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3315404817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445358752"/>
                    </a:ext>
                  </a:extLst>
                </a:gridCol>
                <a:gridCol w="1520395">
                  <a:extLst>
                    <a:ext uri="{9D8B030D-6E8A-4147-A177-3AD203B41FA5}">
                      <a16:colId xmlns:a16="http://schemas.microsoft.com/office/drawing/2014/main" val="1925707670"/>
                    </a:ext>
                  </a:extLst>
                </a:gridCol>
              </a:tblGrid>
              <a:tr h="435096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Velikost obcí</a:t>
                      </a:r>
                      <a:endParaRPr lang="cs-CZ" sz="1400" b="1" i="0" u="sng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 v populaci k 1.1.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ní 18+ celkem (osoby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končené očkov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504853">
                <a:tc vMerge="1">
                  <a:txBody>
                    <a:bodyPr/>
                    <a:lstStyle/>
                    <a:p>
                      <a:pPr algn="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ob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čkovaných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1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populace 18+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599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95 88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95 75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6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87 75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223 69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96 17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86 88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5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71 97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90 14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7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81 797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93 74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78 59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6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69 10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139 00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33 74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824 61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010 606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39 91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2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731 323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1 948 26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 457 30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1 440 600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neuvedeno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149 259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142 991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428363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noProof="0">
                          <a:effectLst/>
                        </a:rPr>
                        <a:t>CELKEM</a:t>
                      </a:r>
                      <a:endParaRPr lang="cs-CZ" sz="1400" b="1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8 683 168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6 540 892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6 465 065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%</a:t>
                      </a:r>
                    </a:p>
                  </a:txBody>
                  <a:tcPr marL="7620" marR="7620" marT="762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18 a více let – přehled podle velikosti obc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20. 3. 2022</a:t>
            </a:r>
          </a:p>
        </p:txBody>
      </p:sp>
    </p:spTree>
    <p:extLst>
      <p:ext uri="{BB962C8B-B14F-4D97-AF65-F5344CB8AC3E}">
        <p14:creationId xmlns:p14="http://schemas.microsoft.com/office/powerpoint/2010/main" val="3631949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FCA17C8B-ABFA-4D22-A977-87E0256611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240830"/>
              </p:ext>
            </p:extLst>
          </p:nvPr>
        </p:nvGraphicFramePr>
        <p:xfrm>
          <a:off x="1517003" y="1261907"/>
          <a:ext cx="10584000" cy="5506997"/>
        </p:xfrm>
        <a:graphic>
          <a:graphicData uri="http://schemas.openxmlformats.org/drawingml/2006/table">
            <a:tbl>
              <a:tblPr/>
              <a:tblGrid>
                <a:gridCol w="1187470">
                  <a:extLst>
                    <a:ext uri="{9D8B030D-6E8A-4147-A177-3AD203B41FA5}">
                      <a16:colId xmlns:a16="http://schemas.microsoft.com/office/drawing/2014/main" val="731364810"/>
                    </a:ext>
                  </a:extLst>
                </a:gridCol>
                <a:gridCol w="1167671">
                  <a:extLst>
                    <a:ext uri="{9D8B030D-6E8A-4147-A177-3AD203B41FA5}">
                      <a16:colId xmlns:a16="http://schemas.microsoft.com/office/drawing/2014/main" val="2899797591"/>
                    </a:ext>
                  </a:extLst>
                </a:gridCol>
                <a:gridCol w="1175353">
                  <a:extLst>
                    <a:ext uri="{9D8B030D-6E8A-4147-A177-3AD203B41FA5}">
                      <a16:colId xmlns:a16="http://schemas.microsoft.com/office/drawing/2014/main" val="2077562382"/>
                    </a:ext>
                  </a:extLst>
                </a:gridCol>
                <a:gridCol w="1175353">
                  <a:extLst>
                    <a:ext uri="{9D8B030D-6E8A-4147-A177-3AD203B41FA5}">
                      <a16:colId xmlns:a16="http://schemas.microsoft.com/office/drawing/2014/main" val="828494511"/>
                    </a:ext>
                  </a:extLst>
                </a:gridCol>
                <a:gridCol w="1167671">
                  <a:extLst>
                    <a:ext uri="{9D8B030D-6E8A-4147-A177-3AD203B41FA5}">
                      <a16:colId xmlns:a16="http://schemas.microsoft.com/office/drawing/2014/main" val="2601274798"/>
                    </a:ext>
                  </a:extLst>
                </a:gridCol>
                <a:gridCol w="1159989">
                  <a:extLst>
                    <a:ext uri="{9D8B030D-6E8A-4147-A177-3AD203B41FA5}">
                      <a16:colId xmlns:a16="http://schemas.microsoft.com/office/drawing/2014/main" val="2610761614"/>
                    </a:ext>
                  </a:extLst>
                </a:gridCol>
                <a:gridCol w="1206083">
                  <a:extLst>
                    <a:ext uri="{9D8B030D-6E8A-4147-A177-3AD203B41FA5}">
                      <a16:colId xmlns:a16="http://schemas.microsoft.com/office/drawing/2014/main" val="3104963374"/>
                    </a:ext>
                  </a:extLst>
                </a:gridCol>
                <a:gridCol w="1175353">
                  <a:extLst>
                    <a:ext uri="{9D8B030D-6E8A-4147-A177-3AD203B41FA5}">
                      <a16:colId xmlns:a16="http://schemas.microsoft.com/office/drawing/2014/main" val="3382082503"/>
                    </a:ext>
                  </a:extLst>
                </a:gridCol>
                <a:gridCol w="1169057">
                  <a:extLst>
                    <a:ext uri="{9D8B030D-6E8A-4147-A177-3AD203B41FA5}">
                      <a16:colId xmlns:a16="http://schemas.microsoft.com/office/drawing/2014/main" val="2754884838"/>
                    </a:ext>
                  </a:extLst>
                </a:gridCol>
              </a:tblGrid>
              <a:tr h="34081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6D6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049908"/>
                  </a:ext>
                </a:extLst>
              </a:tr>
              <a:tr h="36408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E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C4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BC17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742450"/>
                  </a:ext>
                </a:extLst>
              </a:tr>
              <a:tr h="316763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DA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FCB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D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73343"/>
                  </a:ext>
                </a:extLst>
              </a:tr>
              <a:tr h="32396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E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B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48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181727"/>
                  </a:ext>
                </a:extLst>
              </a:tr>
              <a:tr h="382155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1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A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71780"/>
                  </a:ext>
                </a:extLst>
              </a:tr>
              <a:tr h="338359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7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736356"/>
                  </a:ext>
                </a:extLst>
              </a:tr>
              <a:tr h="33116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0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7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0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8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260794"/>
                  </a:ext>
                </a:extLst>
              </a:tr>
              <a:tr h="372101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D8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4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5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D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750252"/>
                  </a:ext>
                </a:extLst>
              </a:tr>
              <a:tr h="32396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F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0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D4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387858"/>
                  </a:ext>
                </a:extLst>
              </a:tr>
              <a:tr h="33599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C8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7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7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3385365"/>
                  </a:ext>
                </a:extLst>
              </a:tr>
              <a:tr h="357808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D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5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18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320988"/>
                  </a:ext>
                </a:extLst>
              </a:tr>
              <a:tr h="37371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706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7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4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87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095022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B7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37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27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6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390339"/>
                  </a:ext>
                </a:extLst>
              </a:tr>
              <a:tr h="341906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847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67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97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E7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47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71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366139"/>
                  </a:ext>
                </a:extLst>
              </a:tr>
              <a:tr h="357809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3445862"/>
                  </a:ext>
                </a:extLst>
              </a:tr>
              <a:tr h="328347"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78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DE8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9982699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9CF1EBE3-09DA-405D-851E-6C6A4FA8FA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826816"/>
              </p:ext>
            </p:extLst>
          </p:nvPr>
        </p:nvGraphicFramePr>
        <p:xfrm>
          <a:off x="88257" y="689550"/>
          <a:ext cx="12015486" cy="6082385"/>
        </p:xfrm>
        <a:graphic>
          <a:graphicData uri="http://schemas.openxmlformats.org/drawingml/2006/table">
            <a:tbl>
              <a:tblPr/>
              <a:tblGrid>
                <a:gridCol w="1428678">
                  <a:extLst>
                    <a:ext uri="{9D8B030D-6E8A-4147-A177-3AD203B41FA5}">
                      <a16:colId xmlns:a16="http://schemas.microsoft.com/office/drawing/2014/main" val="3142138702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681493188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844908053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540180046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318157054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845873480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830060361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2688662673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1853448349"/>
                    </a:ext>
                  </a:extLst>
                </a:gridCol>
                <a:gridCol w="1176312">
                  <a:extLst>
                    <a:ext uri="{9D8B030D-6E8A-4147-A177-3AD203B41FA5}">
                      <a16:colId xmlns:a16="http://schemas.microsoft.com/office/drawing/2014/main" val="3296446822"/>
                    </a:ext>
                  </a:extLst>
                </a:gridCol>
              </a:tblGrid>
              <a:tr h="173437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likost obc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128364"/>
                  </a:ext>
                </a:extLst>
              </a:tr>
              <a:tr h="37310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bydliště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750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– 1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00 – 4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 – 14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00 – 39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000 – 99 999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00 a více obyvate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  <a:endParaRPr lang="cs-CZ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193039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619 / 111128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0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4619/111128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6.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351133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693 / 26990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3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258 / 238583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9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553 / 1813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7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021 / 2141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9.3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244 / 1727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78 / 5725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6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6547/113398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8.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606995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403 / 12288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319 / 81233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2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636 / 7480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21 / 872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47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110 / 9016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76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49 / 7845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8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038/53475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555380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151 / 9566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217 / 7583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06 / 9092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9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055 / 6500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36 / 18737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3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458 / 1469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3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1923/49307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110315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78 / 2874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6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44 / 338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54 / 3729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410 / 58904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3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949 / 4576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8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66 / 414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67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401/24593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0.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684108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50 / 80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53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64 / 7953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8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141 / 623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37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713 / 10198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3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451 / 1401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0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702 / 21226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8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321/677309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1225780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705 / 4917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57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77 / 463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16 / 5396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7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41 / 6196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4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29 / 68258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83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60 / 8582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9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228/365503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276870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35 / 10400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0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465 / 724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3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56 / 4445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90 / 1189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7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78 / 416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0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681 / 7763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16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705/459214</a:t>
                      </a:r>
                      <a:b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180054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256 / 101154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86 / 731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36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127 / 4803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1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632 / 11580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41 / 19160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4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034 / 76882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1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3876/43417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4666804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140 / 13780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6.3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73 / 5228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4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273 / 5832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7.6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57 / 66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2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52 / 664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8.3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21 / 42401</a:t>
                      </a:r>
                      <a:b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416/424066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7.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101163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019 / 15477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4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107 / 17682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4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457 / 1431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26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84 / 9263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2.7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453 / 10396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6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035 / 31941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.8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455/990788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218743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022 / 99207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5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488 / 10287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5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714 / 67319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9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86 / 7881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37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41 / 939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36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980 / 8297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3.4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231/525104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8.9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1464907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181 / 7538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8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278 / 9851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8.2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322 / 822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7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94 / 66933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1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695 / 10025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1.5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54 / 62376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9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624/485727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0.3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8023995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57 / 5189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.5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308 / 121098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2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219 / 135871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0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968 / 105312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0.2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54 / 14761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6.1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843 / 19635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69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338 / 239135</a:t>
                      </a:r>
                      <a:b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9.98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387/99728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9.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7364421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36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364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14356"/>
                  </a:ext>
                </a:extLst>
              </a:tr>
              <a:tr h="34480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9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4690/1371572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5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384/1252479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0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3674/108017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872/1234490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2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5633/1108903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2.6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068/1013838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3.4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9450/1816731</a:t>
                      </a:r>
                      <a:b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74.8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 364 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70135/8878184</a:t>
                      </a:r>
                      <a:b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5.1 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562237"/>
                  </a:ext>
                </a:extLst>
              </a:tr>
            </a:tbl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alespoň 1 dávkou, věk 16 a více let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5D9FBD4C-1B9C-45E2-BB7E-2957828245D9}"/>
              </a:ext>
            </a:extLst>
          </p:cNvPr>
          <p:cNvSpPr txBox="1"/>
          <p:nvPr/>
        </p:nvSpPr>
        <p:spPr>
          <a:xfrm>
            <a:off x="6638924" y="-10966"/>
            <a:ext cx="15335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</a:rPr>
              <a:t>Stav k </a:t>
            </a:r>
          </a:p>
          <a:p>
            <a:pPr algn="ctr"/>
            <a:r>
              <a:rPr lang="cs-CZ" sz="1600" b="1" dirty="0">
                <a:solidFill>
                  <a:schemeClr val="bg1"/>
                </a:solidFill>
              </a:rPr>
              <a:t>20. 3. 2022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2281DE67-E341-4287-A491-FA5FF69EE8AE}"/>
              </a:ext>
            </a:extLst>
          </p:cNvPr>
          <p:cNvSpPr/>
          <p:nvPr/>
        </p:nvSpPr>
        <p:spPr>
          <a:xfrm>
            <a:off x="12057" y="554759"/>
            <a:ext cx="1533524" cy="35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ts val="1000"/>
              </a:lnSpc>
            </a:pP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Očkovaní / obyvatelstvo</a:t>
            </a:r>
            <a:b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cs-CZ" sz="1000" b="1" dirty="0">
                <a:solidFill>
                  <a:srgbClr val="000000"/>
                </a:solidFill>
                <a:latin typeface="Calibri" panose="020F0502020204030204" pitchFamily="34" charset="0"/>
              </a:rPr>
              <a:t>(podíl %)</a:t>
            </a:r>
          </a:p>
        </p:txBody>
      </p:sp>
    </p:spTree>
    <p:extLst>
      <p:ext uri="{BB962C8B-B14F-4D97-AF65-F5344CB8AC3E}">
        <p14:creationId xmlns:p14="http://schemas.microsoft.com/office/powerpoint/2010/main" val="703657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EA07EF69-E822-480B-8581-2B84270B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7966086"/>
              </p:ext>
            </p:extLst>
          </p:nvPr>
        </p:nvGraphicFramePr>
        <p:xfrm>
          <a:off x="133350" y="742950"/>
          <a:ext cx="11837679" cy="5789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20. 3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100" dirty="0"/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89194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678805"/>
              </p:ext>
            </p:extLst>
          </p:nvPr>
        </p:nvGraphicFramePr>
        <p:xfrm>
          <a:off x="10803138" y="1608754"/>
          <a:ext cx="1333315" cy="4601544"/>
        </p:xfrm>
        <a:graphic>
          <a:graphicData uri="http://schemas.openxmlformats.org/drawingml/2006/table">
            <a:tbl>
              <a:tblPr/>
              <a:tblGrid>
                <a:gridCol w="68580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  <a:gridCol w="647515">
                  <a:extLst>
                    <a:ext uri="{9D8B030D-6E8A-4147-A177-3AD203B41FA5}">
                      <a16:colId xmlns:a16="http://schemas.microsoft.com/office/drawing/2014/main" val="1988768172"/>
                    </a:ext>
                  </a:extLst>
                </a:gridCol>
              </a:tblGrid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 1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741383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 1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34 5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67720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186940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8 0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9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4 0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 7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2 8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2 5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83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2 4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878997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95E84E81-91E5-46C2-9381-CDCE4FF5644A}"/>
              </a:ext>
            </a:extLst>
          </p:cNvPr>
          <p:cNvSpPr/>
          <p:nvPr/>
        </p:nvSpPr>
        <p:spPr>
          <a:xfrm>
            <a:off x="10694639" y="1180677"/>
            <a:ext cx="96051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yvatelstvo </a:t>
            </a:r>
          </a:p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 1. 1. 2021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DE88B8D6-CC63-4A18-A0A2-C12CA14C6C9E}"/>
              </a:ext>
            </a:extLst>
          </p:cNvPr>
          <p:cNvSpPr/>
          <p:nvPr/>
        </p:nvSpPr>
        <p:spPr>
          <a:xfrm>
            <a:off x="11418668" y="3266652"/>
            <a:ext cx="7697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sz="11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čet obcí</a:t>
            </a: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E4438AD-C19F-4800-86E5-D99FB2280CA5}"/>
              </a:ext>
            </a:extLst>
          </p:cNvPr>
          <p:cNvSpPr/>
          <p:nvPr/>
        </p:nvSpPr>
        <p:spPr>
          <a:xfrm>
            <a:off x="22619" y="3253093"/>
            <a:ext cx="21791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ce podle počtu obyvatel</a:t>
            </a:r>
            <a:endParaRPr lang="cs-CZ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37893DC9-287B-4677-8B4C-245EDD1E1EDD}"/>
              </a:ext>
            </a:extLst>
          </p:cNvPr>
          <p:cNvSpPr/>
          <p:nvPr/>
        </p:nvSpPr>
        <p:spPr>
          <a:xfrm>
            <a:off x="240021" y="617976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r>
              <a:rPr lang="cs-CZ" sz="1100" b="1" dirty="0">
                <a:solidFill>
                  <a:srgbClr val="FF0000"/>
                </a:solidFill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3104865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394D7A9E-99FA-4768-92F9-5B89BCF6149F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4065590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8E059801-51AB-4C86-84F6-0A56BB1A9702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4D3D046A-6B0A-4D22-B358-88584987FE47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Celkový přehled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4817B73-F049-4743-BDB2-57E1F37CB4C1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85930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do 750 obyvatel (1 358 031 obyvatel, 4 247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08961D1-DDD6-49A8-A978-9E283C04DC3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245062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CDB5CBC3-FD57-43D3-AB0A-884EE3365B11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ABF4EE96-7434-418D-A305-0AB39405926D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318520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750 – 1 999 obyvatel (1 531 990 obyvatel, 1 294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1E7B9B15-9120-43B8-8524-207203EEEC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5302407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51A14B2E-6869-4520-A387-7FB8A904021C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3D5DC57C-C7FC-4406-966F-D92D9D541138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532486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2 000 – 4 999 obyvatel (1 334 099 obyvatel, 441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27EEF3F1-2537-48F1-9061-D953A2F8D8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7487305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B25FF770-62F5-4448-8585-88A6EBCB9787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4D50749A-2209-4E42-8A7E-E4F3F600337B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434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5 000 – 14 999 obyvatel (1 469 760 obyvatel, 18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A0B4B87C-1D23-4D8D-AE42-0728CA7F11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3156317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CE92ECA-B9DE-4168-B7B9-1383901EBE83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2859E773-1151-4C8A-A400-568BDDFDE906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3575029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15 000 – 39 999 obyvatel (1 392 895 obyvatel, 63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E2FB9686-F02D-456D-AB30-60BC6CC6E2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4050472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318C09F0-916B-4408-B222-363E03AF4EE8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506DB690-38B5-477D-BD3A-14180D26F01F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1984157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jem o očkování, stav k 20. 3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1A621DB-23FF-4F32-9A6D-9A629C3C0C0E}"/>
              </a:ext>
            </a:extLst>
          </p:cNvPr>
          <p:cNvSpPr txBox="1"/>
          <p:nvPr/>
        </p:nvSpPr>
        <p:spPr>
          <a:xfrm>
            <a:off x="381740" y="694787"/>
            <a:ext cx="11329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sz="2000" b="1" dirty="0"/>
              <a:t>Obce 40 000 – 99 999 obyvatel (1 232 537 obyvatel, 20 obcí)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61B8D42-163F-4396-880D-44BDAB1F29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5937010"/>
              </p:ext>
            </p:extLst>
          </p:nvPr>
        </p:nvGraphicFramePr>
        <p:xfrm>
          <a:off x="999134" y="1164628"/>
          <a:ext cx="10107016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64943663-80F7-4830-8580-68DFB365379E}"/>
              </a:ext>
            </a:extLst>
          </p:cNvPr>
          <p:cNvCxnSpPr>
            <a:cxnSpLocks/>
          </p:cNvCxnSpPr>
          <p:nvPr/>
        </p:nvCxnSpPr>
        <p:spPr>
          <a:xfrm>
            <a:off x="1529428" y="2722192"/>
            <a:ext cx="9071897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>
            <a:extLst>
              <a:ext uri="{FF2B5EF4-FFF2-40B4-BE49-F238E27FC236}">
                <a16:creationId xmlns:a16="http://schemas.microsoft.com/office/drawing/2014/main" id="{10CC488C-1A0D-454F-B997-A65B0B8067F5}"/>
              </a:ext>
            </a:extLst>
          </p:cNvPr>
          <p:cNvSpPr/>
          <p:nvPr/>
        </p:nvSpPr>
        <p:spPr>
          <a:xfrm>
            <a:off x="244279" y="6417893"/>
            <a:ext cx="117163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rgbClr val="FF0000"/>
                </a:solidFill>
              </a:rPr>
              <a:t>Poznámka: Registrovaní, čekají na termín = provedli registraci na OČM nejdéle před dvěma měsíci; Mají rezervaci termínu = nejdéle před měsícem získali termín pro očkování</a:t>
            </a:r>
          </a:p>
        </p:txBody>
      </p:sp>
    </p:spTree>
    <p:extLst>
      <p:ext uri="{BB962C8B-B14F-4D97-AF65-F5344CB8AC3E}">
        <p14:creationId xmlns:p14="http://schemas.microsoft.com/office/powerpoint/2010/main" val="2422985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ID-web-sablona</Template>
  <TotalTime>8906</TotalTime>
  <Words>1841</Words>
  <Application>Microsoft Office PowerPoint</Application>
  <PresentationFormat>Širokoúhlá obrazovka</PresentationFormat>
  <Paragraphs>341</Paragraphs>
  <Slides>13</Slides>
  <Notes>3</Notes>
  <HiddenSlides>0</HiddenSlides>
  <MMClips>0</MMClips>
  <ScaleCrop>false</ScaleCrop>
  <HeadingPairs>
    <vt:vector size="6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6" baseType="lpstr">
      <vt:lpstr>Arial</vt:lpstr>
      <vt:lpstr>Calibri</vt:lpstr>
      <vt:lpstr>Motiv Office</vt:lpstr>
      <vt:lpstr>Prezentace aplikace PowerPoint</vt:lpstr>
      <vt:lpstr>Stav očkování obyvatel v ČR k 20. 3. 2022</vt:lpstr>
      <vt:lpstr>Zájem o očkování, stav k 20. 3. 2022</vt:lpstr>
      <vt:lpstr>Zájem o očkování, stav k 20. 3. 2022</vt:lpstr>
      <vt:lpstr>Zájem o očkování, stav k 20. 3. 2022</vt:lpstr>
      <vt:lpstr>Zájem o očkování, stav k 20. 3. 2022</vt:lpstr>
      <vt:lpstr>Zájem o očkování, stav k 20. 3. 2022</vt:lpstr>
      <vt:lpstr>Zájem o očkování, stav k 20. 3. 2022</vt:lpstr>
      <vt:lpstr>Zájem o očkování, stav k 20. 3. 2022</vt:lpstr>
      <vt:lpstr>Zájem o očkování, stav k 20. 3. 2022</vt:lpstr>
      <vt:lpstr>Očkovaní 16 a více let – přehled podle velikosti obcí</vt:lpstr>
      <vt:lpstr>Očkovaní 18 a více let – přehled podle velikosti obcí</vt:lpstr>
      <vt:lpstr>Očkovaní alespoň 1 dávkou, věk 16 a více l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Klechová Anna Mgr.</cp:lastModifiedBy>
  <cp:revision>608</cp:revision>
  <dcterms:created xsi:type="dcterms:W3CDTF">2020-11-14T10:09:00Z</dcterms:created>
  <dcterms:modified xsi:type="dcterms:W3CDTF">2022-03-20T08:15:39Z</dcterms:modified>
</cp:coreProperties>
</file>